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6"/>
  </p:notesMasterIdLst>
  <p:handoutMasterIdLst>
    <p:handoutMasterId r:id="rId17"/>
  </p:handoutMasterIdLst>
  <p:sldIdLst>
    <p:sldId id="546" r:id="rId7"/>
    <p:sldId id="2141411554" r:id="rId8"/>
    <p:sldId id="2141411566" r:id="rId9"/>
    <p:sldId id="2141411565" r:id="rId10"/>
    <p:sldId id="2141411572" r:id="rId11"/>
    <p:sldId id="2141411571" r:id="rId12"/>
    <p:sldId id="2141411574" r:id="rId13"/>
    <p:sldId id="2141411573" r:id="rId14"/>
    <p:sldId id="2141411444" r:id="rId15"/>
  </p:sldIdLst>
  <p:sldSz cx="12192000" cy="6858000"/>
  <p:notesSz cx="6670675" cy="9777413"/>
  <p:custDataLst>
    <p:tags r:id="rId18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4660"/>
  </p:normalViewPr>
  <p:slideViewPr>
    <p:cSldViewPr snapToGrid="0">
      <p:cViewPr varScale="1">
        <p:scale>
          <a:sx n="98" d="100"/>
          <a:sy n="98" d="100"/>
        </p:scale>
        <p:origin x="72" y="252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5/09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5/09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September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September 6, 2023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Greg Lackey (CPS Energy) Co-Vice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2954655"/>
          </a:xfrm>
        </p:spPr>
        <p:txBody>
          <a:bodyPr/>
          <a:lstStyle/>
          <a:p>
            <a:r>
              <a:rPr lang="en-US" sz="1600" b="0" i="0" dirty="0">
                <a:solidFill>
                  <a:srgbClr val="FF0000"/>
                </a:solidFill>
                <a:effectLst/>
                <a:latin typeface="Roboto" panose="02000000000000000000" pitchFamily="2" charset="0"/>
              </a:rPr>
              <a:t>Greg Lackey (CPS Energy) has </a:t>
            </a:r>
            <a:r>
              <a:rPr lang="en-US" sz="1600" b="0" dirty="0">
                <a:solidFill>
                  <a:srgbClr val="FF0000"/>
                </a:solidFill>
                <a:latin typeface="Roboto" panose="02000000000000000000" pitchFamily="2" charset="0"/>
              </a:rPr>
              <a:t>been nominated </a:t>
            </a:r>
            <a:r>
              <a:rPr lang="en-US" sz="1600" b="0" i="0" dirty="0">
                <a:solidFill>
                  <a:srgbClr val="FF0000"/>
                </a:solidFill>
                <a:effectLst/>
                <a:latin typeface="Roboto" panose="02000000000000000000" pitchFamily="2" charset="0"/>
              </a:rPr>
              <a:t>SAWG Vice Chair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Resource Flexibility Assessment using EPRI’s </a:t>
            </a:r>
            <a:r>
              <a:rPr lang="en-US" sz="1600" b="0" dirty="0" err="1">
                <a:solidFill>
                  <a:srgbClr val="212529"/>
                </a:solidFill>
                <a:latin typeface="Roboto" panose="02000000000000000000" pitchFamily="2" charset="0"/>
              </a:rPr>
              <a:t>InFLEXion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 tool (Julie Jin / </a:t>
            </a:r>
            <a:r>
              <a:rPr lang="en-US" sz="1600" b="0" dirty="0" err="1">
                <a:solidFill>
                  <a:srgbClr val="212529"/>
                </a:solidFill>
                <a:latin typeface="Roboto" panose="02000000000000000000" pitchFamily="2" charset="0"/>
              </a:rPr>
              <a:t>Thair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 Mahmoud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Modeling and Other Study Updates (Pete Warnken) 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Temperature-based Thermal Outage Modeling in SERVM (Pete Warnken) 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NPRR language for the CDR (Pete Warnken) 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Siting trends for planned generation projects (Dan Mantena / Tyler Vickery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Drought Risk Assessment Report (Dan Mantena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source Flexibility Assessment using EPRI’s </a:t>
            </a:r>
            <a:r>
              <a:rPr lang="en-US" sz="3200" b="0" i="0" dirty="0" err="1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InFLEXion</a:t>
            </a:r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 tool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4385" y="931281"/>
            <a:ext cx="4394797" cy="2257028"/>
          </a:xfrm>
        </p:spPr>
        <p:txBody>
          <a:bodyPr/>
          <a:lstStyle/>
          <a:p>
            <a:r>
              <a:rPr lang="en-US" sz="2000" dirty="0"/>
              <a:t>Model uses 2013 Weather Year</a:t>
            </a:r>
          </a:p>
          <a:p>
            <a:r>
              <a:rPr lang="en-US" sz="2000" dirty="0"/>
              <a:t>No transmission topology in initial analysis</a:t>
            </a:r>
          </a:p>
          <a:p>
            <a:r>
              <a:rPr lang="en-US" sz="2000" dirty="0"/>
              <a:t>Initial results for 2026 shows max observed 5 minute Net Load ramp in  Septemb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4C7F5F-E0CE-4B5A-91AB-FDC1C73C9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5170" y="931282"/>
            <a:ext cx="6627913" cy="498875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4A18DA-4A29-45D1-AA1B-F129D365D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373" y="3429000"/>
            <a:ext cx="3819423" cy="2851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16427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liability Standard Modeling and Other Study Updat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F7F31D-C1E4-4F69-8D94-EED4F7BC59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215" y="1122861"/>
            <a:ext cx="10554862" cy="5093114"/>
          </a:xfrm>
        </p:spPr>
        <p:txBody>
          <a:bodyPr/>
          <a:lstStyle/>
          <a:p>
            <a:r>
              <a:rPr lang="en-US" dirty="0"/>
              <a:t>VOLL</a:t>
            </a:r>
          </a:p>
          <a:p>
            <a:r>
              <a:rPr lang="en-US" dirty="0"/>
              <a:t>	Working with Lawrence Berkeley National Lab</a:t>
            </a:r>
          </a:p>
          <a:p>
            <a:pPr marL="914400" indent="-914400"/>
            <a:r>
              <a:rPr lang="en-US" dirty="0"/>
              <a:t>	ERCOT is engaging a consultant, and targeting study completion      in 2024 Q1</a:t>
            </a:r>
          </a:p>
          <a:p>
            <a:r>
              <a:rPr lang="en-US" dirty="0"/>
              <a:t>CONE</a:t>
            </a:r>
          </a:p>
          <a:p>
            <a:r>
              <a:rPr lang="en-US" dirty="0"/>
              <a:t>	ERCOT is hiring a consultant to do the study</a:t>
            </a:r>
          </a:p>
          <a:p>
            <a:pPr marL="914400" indent="-914400"/>
            <a:r>
              <a:rPr lang="en-US" dirty="0"/>
              <a:t>	New resource will likely be an advanced combustion turbine (e.g., LM6000 peaking unit, but a 1x1 combined-cycle is a candidate</a:t>
            </a:r>
          </a:p>
          <a:p>
            <a:r>
              <a:rPr lang="en-US" dirty="0"/>
              <a:t>	Potentially, ERCOT will consider storage as another option</a:t>
            </a:r>
          </a:p>
          <a:p>
            <a:r>
              <a:rPr lang="en-US" dirty="0"/>
              <a:t>	Consultant will provide WACOC assumptions	</a:t>
            </a:r>
          </a:p>
        </p:txBody>
      </p:sp>
    </p:spTree>
    <p:extLst>
      <p:ext uri="{BB962C8B-B14F-4D97-AF65-F5344CB8AC3E}">
        <p14:creationId xmlns:p14="http://schemas.microsoft.com/office/powerpoint/2010/main" val="39840872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Temperature-based Thermal Outage Modeling in SERVM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4385" y="1154225"/>
            <a:ext cx="5135580" cy="4924425"/>
          </a:xfrm>
        </p:spPr>
        <p:txBody>
          <a:bodyPr/>
          <a:lstStyle/>
          <a:p>
            <a:r>
              <a:rPr lang="en-US" sz="2000" dirty="0"/>
              <a:t>ERCOT analyzed unplanned outages as a function of cold and hot temperatures by weatherization zones</a:t>
            </a:r>
          </a:p>
          <a:p>
            <a:r>
              <a:rPr lang="en-US" sz="2000" dirty="0"/>
              <a:t>Converted the trend lines into incremental forced outage rate probabilities that are mapped to each thermal unit</a:t>
            </a:r>
          </a:p>
          <a:p>
            <a:r>
              <a:rPr lang="en-US" sz="2000" dirty="0"/>
              <a:t>Assumes that weatherization efforts reduce all weather-related unplanned outages by 85%; simulations with and without this weatherization assumption will isolate the impact</a:t>
            </a:r>
          </a:p>
          <a:p>
            <a:r>
              <a:rPr lang="en-US" sz="2000" dirty="0"/>
              <a:t>Factors in lack of supply of natural gas to the generators, but not up-stream deliverability mode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0EAF4D-86D2-4DB4-B04E-9571121318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9965" y="1062092"/>
            <a:ext cx="6424925" cy="497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22994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NPRR language for the CDR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677" y="931281"/>
            <a:ext cx="11720778" cy="5529719"/>
          </a:xfrm>
        </p:spPr>
        <p:txBody>
          <a:bodyPr/>
          <a:lstStyle/>
          <a:p>
            <a:r>
              <a:rPr lang="en-US" sz="1600" dirty="0"/>
              <a:t>Three new NPRRs will impact the CDR:</a:t>
            </a:r>
          </a:p>
          <a:p>
            <a:pPr marL="457200" indent="-457200">
              <a:buAutoNum type="arabicParenR"/>
            </a:pPr>
            <a:r>
              <a:rPr lang="en-US" sz="1600" dirty="0"/>
              <a:t>CDR overhaul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Language will be reviewed at next SAWG meeting (September 29</a:t>
            </a:r>
            <a:r>
              <a:rPr lang="en-US" sz="1400" baseline="30000" dirty="0"/>
              <a:t>th</a:t>
            </a:r>
            <a:r>
              <a:rPr lang="en-US" sz="1400" dirty="0"/>
              <a:t>)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New definitions: </a:t>
            </a:r>
          </a:p>
          <a:p>
            <a:pPr marL="1177182" lvl="3" indent="-457200">
              <a:spcAft>
                <a:spcPts val="0"/>
              </a:spcAft>
              <a:buFont typeface="+mj-lt"/>
              <a:buAutoNum type="arabicPeriod"/>
            </a:pPr>
            <a:r>
              <a:rPr lang="en-US" sz="1400" dirty="0"/>
              <a:t>Effective Load Carrying Capability (ELCC)</a:t>
            </a:r>
          </a:p>
          <a:p>
            <a:pPr marL="1177182" lvl="3" indent="-457200">
              <a:spcAft>
                <a:spcPts val="0"/>
              </a:spcAft>
              <a:buFont typeface="+mj-lt"/>
              <a:buAutoNum type="arabicPeriod"/>
            </a:pPr>
            <a:r>
              <a:rPr lang="en-US" sz="1400" dirty="0"/>
              <a:t>Loss of Load Expectation (LOLE)</a:t>
            </a:r>
          </a:p>
          <a:p>
            <a:pPr marL="1177182" lvl="3" indent="-457200">
              <a:spcAft>
                <a:spcPts val="0"/>
              </a:spcAft>
              <a:buFont typeface="+mj-lt"/>
              <a:buAutoNum type="arabicPeriod"/>
            </a:pPr>
            <a:r>
              <a:rPr lang="en-US" sz="1400" dirty="0"/>
              <a:t>Net Load</a:t>
            </a:r>
          </a:p>
          <a:p>
            <a:pPr marL="1177182" lvl="3" indent="-457200">
              <a:spcAft>
                <a:spcPts val="0"/>
              </a:spcAft>
              <a:buFont typeface="+mj-lt"/>
              <a:buAutoNum type="arabicPeriod"/>
            </a:pPr>
            <a:r>
              <a:rPr lang="en-US" sz="1400" dirty="0"/>
              <a:t>Fully Dispatchable Resource, a new resource attribute </a:t>
            </a:r>
            <a:r>
              <a:rPr lang="en-US" sz="1400" dirty="0">
                <a:solidFill>
                  <a:srgbClr val="FF0000"/>
                </a:solidFill>
              </a:rPr>
              <a:t>(Batteries are considered fully dispatchable)</a:t>
            </a:r>
          </a:p>
          <a:p>
            <a:pPr marL="1177182" lvl="3" indent="-457200">
              <a:spcAft>
                <a:spcPts val="0"/>
              </a:spcAft>
              <a:buFont typeface="+mj-lt"/>
              <a:buAutoNum type="arabicPeriod"/>
            </a:pPr>
            <a:endParaRPr lang="en-US" sz="1400" dirty="0"/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Quarterly publication schedule and reporting all seasons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Five year forecasting period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Planning Reserve Margin (PRM) reporting for forecasted seasonal peak load and peak net load hour</a:t>
            </a:r>
          </a:p>
          <a:p>
            <a:pPr marL="817191" lvl="2" indent="-457200">
              <a:buFont typeface="+mj-lt"/>
              <a:buAutoNum type="alphaLcParenR"/>
            </a:pPr>
            <a:r>
              <a:rPr lang="en-US" sz="1400" dirty="0"/>
              <a:t>Risk Period concept, applicable to the calculation of ELCCs and their use for peak load and peak net load hour reporting</a:t>
            </a:r>
          </a:p>
          <a:p>
            <a:pPr marL="457200" indent="-457200">
              <a:buAutoNum type="arabicParenR"/>
            </a:pPr>
            <a:r>
              <a:rPr lang="en-US" sz="1600" dirty="0"/>
              <a:t>NPRR 1191, Large Flexible Loads</a:t>
            </a:r>
          </a:p>
          <a:p>
            <a:pPr marL="457200" indent="-457200">
              <a:buAutoNum type="arabicParenR"/>
            </a:pPr>
            <a:r>
              <a:rPr lang="en-US" sz="1600" dirty="0"/>
              <a:t>NPRR for remaining CDR changes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ELCC for thermal resources, subject to further study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Resource flexibility measures</a:t>
            </a:r>
          </a:p>
        </p:txBody>
      </p:sp>
    </p:spTree>
    <p:extLst>
      <p:ext uri="{BB962C8B-B14F-4D97-AF65-F5344CB8AC3E}">
        <p14:creationId xmlns:p14="http://schemas.microsoft.com/office/powerpoint/2010/main" val="270299570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iting trends for planned generation project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6105" y="1194938"/>
            <a:ext cx="4839209" cy="5293437"/>
          </a:xfrm>
        </p:spPr>
        <p:txBody>
          <a:bodyPr/>
          <a:lstStyle/>
          <a:p>
            <a:r>
              <a:rPr lang="en-US" sz="1800" dirty="0"/>
              <a:t>Some notable developments potentially impacting generation investment:</a:t>
            </a:r>
          </a:p>
          <a:p>
            <a:pPr marL="457200" indent="-457200">
              <a:buAutoNum type="arabicParenR"/>
            </a:pPr>
            <a:r>
              <a:rPr lang="en-US" sz="1800" dirty="0"/>
              <a:t>8/16/2022: Inflation Reduction Act</a:t>
            </a:r>
          </a:p>
          <a:p>
            <a:pPr marL="457200" indent="-457200">
              <a:buAutoNum type="arabicParenR"/>
            </a:pPr>
            <a:r>
              <a:rPr lang="en-US" sz="1800" dirty="0"/>
              <a:t>Jan to May 2023: 88</a:t>
            </a:r>
            <a:r>
              <a:rPr lang="en-US" sz="1800" baseline="30000" dirty="0"/>
              <a:t>th</a:t>
            </a:r>
            <a:r>
              <a:rPr lang="en-US" sz="1800" dirty="0"/>
              <a:t> Texas Legislative regular session</a:t>
            </a:r>
          </a:p>
          <a:p>
            <a:pPr marL="457200" indent="-457200">
              <a:buAutoNum type="arabicParenR"/>
            </a:pPr>
            <a:r>
              <a:rPr lang="en-US" sz="1800" dirty="0"/>
              <a:t>7/9/2023: Legislature passed SB 2627 which created a fund designed to encourage new gas fired power plants</a:t>
            </a:r>
          </a:p>
          <a:p>
            <a:pPr marL="817191" lvl="2" indent="-457200">
              <a:buFont typeface="+mj-lt"/>
              <a:buAutoNum type="alphaLcParenR"/>
            </a:pPr>
            <a:r>
              <a:rPr lang="en-US" sz="1600" dirty="0"/>
              <a:t>Provides 3% loans for new gas fired power plants in ERCOT</a:t>
            </a:r>
          </a:p>
          <a:p>
            <a:pPr marL="817191" lvl="2" indent="-457200">
              <a:buFont typeface="+mj-lt"/>
              <a:buAutoNum type="alphaLcParenR"/>
            </a:pPr>
            <a:r>
              <a:rPr lang="en-US" sz="1600" dirty="0"/>
              <a:t>Paying bonuses to plants connected by June 2029</a:t>
            </a:r>
          </a:p>
          <a:p>
            <a:pPr marL="817191" lvl="2" indent="-457200">
              <a:buFont typeface="+mj-lt"/>
              <a:buAutoNum type="alphaLcParenR"/>
            </a:pPr>
            <a:r>
              <a:rPr lang="en-US" sz="1600" dirty="0"/>
              <a:t>Voters will decide in November 2023</a:t>
            </a:r>
          </a:p>
          <a:p>
            <a:pPr marL="457200" indent="-457200">
              <a:buAutoNum type="arabicParenR"/>
            </a:pP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B1508F-0213-400D-B058-4561495C7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9584" y="1127605"/>
            <a:ext cx="6490616" cy="486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90011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Drought Risk Assessment Report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6105" y="1194938"/>
            <a:ext cx="3244883" cy="2257028"/>
          </a:xfrm>
        </p:spPr>
        <p:txBody>
          <a:bodyPr/>
          <a:lstStyle/>
          <a:p>
            <a:r>
              <a:rPr lang="en-US" sz="2000" dirty="0"/>
              <a:t>Almost 18 GWs of generation at risk of drought within the next 18 months</a:t>
            </a:r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FB3368-8A0F-4DD6-B8B0-FDEF929A86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0864" y="880669"/>
            <a:ext cx="7760224" cy="58201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27EC69-4093-4F04-B3AB-3397C0A7DB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09" y="2960017"/>
            <a:ext cx="4264620" cy="314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31884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2182</TotalTime>
  <Words>535</Words>
  <Application>Microsoft Office PowerPoint</Application>
  <PresentationFormat>Widescreen</PresentationFormat>
  <Paragraphs>60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September 2023 Update to WMS  </vt:lpstr>
      <vt:lpstr>Overview</vt:lpstr>
      <vt:lpstr>Resource Flexibility Assessment using EPRI’s InFLEXion tool</vt:lpstr>
      <vt:lpstr>Reliability Standard Modeling and Other Study Updates</vt:lpstr>
      <vt:lpstr>Temperature-based Thermal Outage Modeling in SERVM</vt:lpstr>
      <vt:lpstr>NPRR language for the CDR </vt:lpstr>
      <vt:lpstr>Siting trends for planned generation projects</vt:lpstr>
      <vt:lpstr>Drought Risk Assessment Report 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Warnken, Pete</cp:lastModifiedBy>
  <cp:revision>11</cp:revision>
  <cp:lastPrinted>2018-08-10T07:16:05Z</cp:lastPrinted>
  <dcterms:created xsi:type="dcterms:W3CDTF">2021-05-20T11:21:33Z</dcterms:created>
  <dcterms:modified xsi:type="dcterms:W3CDTF">2023-09-05T12:4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